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85" r:id="rId1"/>
    <p:sldMasterId id="2147485253" r:id="rId2"/>
  </p:sldMasterIdLst>
  <p:notesMasterIdLst>
    <p:notesMasterId r:id="rId17"/>
  </p:notesMasterIdLst>
  <p:handoutMasterIdLst>
    <p:handoutMasterId r:id="rId18"/>
  </p:handoutMasterIdLst>
  <p:sldIdLst>
    <p:sldId id="5603" r:id="rId3"/>
    <p:sldId id="5591" r:id="rId4"/>
    <p:sldId id="5592" r:id="rId5"/>
    <p:sldId id="5593" r:id="rId6"/>
    <p:sldId id="5594" r:id="rId7"/>
    <p:sldId id="5595" r:id="rId8"/>
    <p:sldId id="5596" r:id="rId9"/>
    <p:sldId id="5597" r:id="rId10"/>
    <p:sldId id="5598" r:id="rId11"/>
    <p:sldId id="5599" r:id="rId12"/>
    <p:sldId id="5600" r:id="rId13"/>
    <p:sldId id="5601" r:id="rId14"/>
    <p:sldId id="5602" r:id="rId15"/>
    <p:sldId id="5229" r:id="rId16"/>
  </p:sldIdLst>
  <p:sldSz cx="12192000" cy="6858000"/>
  <p:notesSz cx="7023100" cy="9309100"/>
  <p:custShowLst>
    <p:custShow name="Format Guide Workshop" id="0">
      <p:sldLst/>
    </p:custShow>
  </p:custShowLst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9169DFA-1EB9-4D84-BD7B-25E6D5DFE3BC}">
          <p14:sldIdLst/>
        </p14:section>
        <p14:section name="Εδαφικά σχέδια" id="{25FC8AB5-CAC0-47BE-A5AD-74D631597FD5}">
          <p14:sldIdLst>
            <p14:sldId id="5603"/>
            <p14:sldId id="5591"/>
            <p14:sldId id="5592"/>
            <p14:sldId id="5593"/>
            <p14:sldId id="5594"/>
            <p14:sldId id="5595"/>
            <p14:sldId id="5596"/>
            <p14:sldId id="5597"/>
            <p14:sldId id="5598"/>
            <p14:sldId id="5599"/>
            <p14:sldId id="5600"/>
            <p14:sldId id="5601"/>
            <p14:sldId id="5602"/>
            <p14:sldId id="522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859"/>
    <a:srgbClr val="FF0000"/>
    <a:srgbClr val="670F31"/>
    <a:srgbClr val="E71C57"/>
    <a:srgbClr val="787878"/>
    <a:srgbClr val="004C22"/>
    <a:srgbClr val="006C31"/>
    <a:srgbClr val="5CDB95"/>
    <a:srgbClr val="557489"/>
    <a:srgbClr val="7F9C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5220" autoAdjust="0"/>
  </p:normalViewPr>
  <p:slideViewPr>
    <p:cSldViewPr snapToGrid="0">
      <p:cViewPr varScale="1">
        <p:scale>
          <a:sx n="127" d="100"/>
          <a:sy n="127" d="100"/>
        </p:scale>
        <p:origin x="912" y="13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7272"/>
    </p:cViewPr>
  </p:sorterViewPr>
  <p:notesViewPr>
    <p:cSldViewPr snapToGrid="0">
      <p:cViewPr>
        <p:scale>
          <a:sx n="75" d="100"/>
          <a:sy n="75" d="100"/>
        </p:scale>
        <p:origin x="2574" y="444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image" Target="../media/image11.wmf"/></Relationships>
</file>

<file path=ppt/drawings/_rels/vmlDrawing38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image" Target="../media/image3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5" y="3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5/27/2021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8842033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5" y="8842033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1" y="4445594"/>
            <a:ext cx="7021475" cy="48635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324" tIns="46662" rIns="93324" bIns="46662" rtlCol="0" anchor="ctr"/>
          <a:lstStyle/>
          <a:p>
            <a:pPr algn="ctr"/>
            <a:endParaRPr lang="en-US" dirty="0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3293" y="3"/>
            <a:ext cx="2960052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400"/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65100" y="579438"/>
            <a:ext cx="6673850" cy="3754437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3324" tIns="46662" rIns="93324" bIns="46662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3293" y="8813232"/>
            <a:ext cx="2960052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4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5" y="8813232"/>
            <a:ext cx="2950637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400"/>
            </a:lvl1pPr>
          </a:lstStyle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62246" y="4751930"/>
            <a:ext cx="6480810" cy="3798746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78366" y="0"/>
            <a:ext cx="3043130" cy="467215"/>
          </a:xfrm>
          <a:prstGeom prst="rect">
            <a:avLst/>
          </a:prstGeom>
        </p:spPr>
        <p:txBody>
          <a:bodyPr vert="horz" lIns="92263" tIns="46131" rIns="92263" bIns="46131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/>
              <a:t>5/27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33" userDrawn="1">
          <p15:clr>
            <a:srgbClr val="F26B43"/>
          </p15:clr>
        </p15:guide>
        <p15:guide id="2" pos="2212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JP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3.JP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3.JPG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2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9.PNG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568183" y="5890342"/>
            <a:ext cx="7591681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Κάντε κλικ για να τροποποιήσετε ημερομηνία/τόπο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68183" y="5178206"/>
            <a:ext cx="7591681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Υπότιτλος σε περίπτωση πρότασης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3568183" y="2054548"/>
            <a:ext cx="7591681" cy="284771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Τίτλος στον τίτλο Υπόθεση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0" y="-8467"/>
            <a:ext cx="12191997" cy="6866467"/>
            <a:chOff x="0" y="-8467"/>
            <a:chExt cx="12191997" cy="6866467"/>
          </a:xfrm>
        </p:grpSpPr>
        <p:grpSp>
          <p:nvGrpSpPr>
            <p:cNvPr id="16" name="Group 15"/>
            <p:cNvGrpSpPr/>
            <p:nvPr userDrawn="1"/>
          </p:nvGrpSpPr>
          <p:grpSpPr>
            <a:xfrm rot="10800000">
              <a:off x="0" y="-8467"/>
              <a:ext cx="4766733" cy="6866467"/>
              <a:chOff x="7425267" y="-8467"/>
              <a:chExt cx="4766733" cy="6866467"/>
            </a:xfrm>
          </p:grpSpPr>
          <p:cxnSp>
            <p:nvCxnSpPr>
              <p:cNvPr id="17" name="Straight Connector 16"/>
              <p:cNvCxnSpPr/>
              <p:nvPr/>
            </p:nvCxnSpPr>
            <p:spPr>
              <a:xfrm>
                <a:off x="9371012" y="0"/>
                <a:ext cx="1219200" cy="6858000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/>
              <p:cNvCxnSpPr/>
              <p:nvPr/>
            </p:nvCxnSpPr>
            <p:spPr>
              <a:xfrm flipH="1">
                <a:off x="7425267" y="3681413"/>
                <a:ext cx="4763558" cy="3176587"/>
              </a:xfrm>
              <a:prstGeom prst="line">
                <a:avLst/>
              </a:prstGeom>
              <a:ln w="952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Rectangle 23"/>
              <p:cNvSpPr/>
              <p:nvPr/>
            </p:nvSpPr>
            <p:spPr>
              <a:xfrm>
                <a:off x="9181476" y="-8467"/>
                <a:ext cx="3007349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3007349" h="6866467">
                    <a:moveTo>
                      <a:pt x="2045532" y="0"/>
                    </a:moveTo>
                    <a:lnTo>
                      <a:pt x="3007349" y="0"/>
                    </a:lnTo>
                    <a:lnTo>
                      <a:pt x="3007349" y="6866467"/>
                    </a:lnTo>
                    <a:lnTo>
                      <a:pt x="0" y="6866467"/>
                    </a:lnTo>
                    <a:lnTo>
                      <a:pt x="2045532" y="0"/>
                    </a:lnTo>
                    <a:close/>
                  </a:path>
                </a:pathLst>
              </a:custGeom>
              <a:solidFill>
                <a:schemeClr val="accent1">
                  <a:alpha val="3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24" name="Rectangle 25"/>
              <p:cNvSpPr/>
              <p:nvPr/>
            </p:nvSpPr>
            <p:spPr>
              <a:xfrm>
                <a:off x="9603442" y="-8467"/>
                <a:ext cx="2588558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2573311" h="6866467">
                    <a:moveTo>
                      <a:pt x="0" y="0"/>
                    </a:moveTo>
                    <a:lnTo>
                      <a:pt x="2573311" y="0"/>
                    </a:lnTo>
                    <a:lnTo>
                      <a:pt x="2573311" y="6866467"/>
                    </a:lnTo>
                    <a:lnTo>
                      <a:pt x="1202336" y="686646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alpha val="2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25" name="Isosceles Triangle 24"/>
              <p:cNvSpPr/>
              <p:nvPr userDrawn="1"/>
            </p:nvSpPr>
            <p:spPr>
              <a:xfrm>
                <a:off x="8932333" y="3048000"/>
                <a:ext cx="3259667" cy="3810000"/>
              </a:xfrm>
              <a:prstGeom prst="triangle">
                <a:avLst>
                  <a:gd name="adj" fmla="val 100000"/>
                </a:avLst>
              </a:prstGeom>
              <a:solidFill>
                <a:schemeClr val="accent2">
                  <a:alpha val="72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28" name="Rectangle 27"/>
              <p:cNvSpPr/>
              <p:nvPr/>
            </p:nvSpPr>
            <p:spPr>
              <a:xfrm>
                <a:off x="9334500" y="-8467"/>
                <a:ext cx="2854326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2858013" h="6866467">
                    <a:moveTo>
                      <a:pt x="0" y="0"/>
                    </a:moveTo>
                    <a:lnTo>
                      <a:pt x="2858013" y="0"/>
                    </a:lnTo>
                    <a:lnTo>
                      <a:pt x="2858013" y="6866467"/>
                    </a:lnTo>
                    <a:lnTo>
                      <a:pt x="2473942" y="686646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  <a:alpha val="7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29" name="Rectangle 28"/>
              <p:cNvSpPr/>
              <p:nvPr/>
            </p:nvSpPr>
            <p:spPr>
              <a:xfrm>
                <a:off x="10898730" y="-8467"/>
                <a:ext cx="1290094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1290094" h="6858000">
                    <a:moveTo>
                      <a:pt x="1019735" y="0"/>
                    </a:moveTo>
                    <a:lnTo>
                      <a:pt x="1290094" y="0"/>
                    </a:lnTo>
                    <a:lnTo>
                      <a:pt x="1290094" y="6858000"/>
                    </a:lnTo>
                    <a:lnTo>
                      <a:pt x="0" y="6858000"/>
                    </a:lnTo>
                    <a:lnTo>
                      <a:pt x="1019735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  <a:alpha val="7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30" name="Rectangle 29"/>
              <p:cNvSpPr/>
              <p:nvPr userDrawn="1"/>
            </p:nvSpPr>
            <p:spPr>
              <a:xfrm>
                <a:off x="10938999" y="-8467"/>
                <a:ext cx="1249825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1249825" h="6858000">
                    <a:moveTo>
                      <a:pt x="0" y="0"/>
                    </a:moveTo>
                    <a:lnTo>
                      <a:pt x="1249825" y="0"/>
                    </a:lnTo>
                    <a:lnTo>
                      <a:pt x="1249825" y="6858000"/>
                    </a:lnTo>
                    <a:lnTo>
                      <a:pt x="1109382" y="6858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alpha val="6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31" name="Isosceles Triangle 30"/>
              <p:cNvSpPr/>
              <p:nvPr userDrawn="1"/>
            </p:nvSpPr>
            <p:spPr>
              <a:xfrm>
                <a:off x="10371666" y="3589867"/>
                <a:ext cx="1817159" cy="3268133"/>
              </a:xfrm>
              <a:prstGeom prst="triangle">
                <a:avLst>
                  <a:gd name="adj" fmla="val 100000"/>
                </a:avLst>
              </a:prstGeom>
              <a:solidFill>
                <a:schemeClr val="accent1">
                  <a:alpha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</p:grpSp>
        <p:sp>
          <p:nvSpPr>
            <p:cNvPr id="34" name="Isosceles Triangle 33"/>
            <p:cNvSpPr/>
            <p:nvPr userDrawn="1"/>
          </p:nvSpPr>
          <p:spPr>
            <a:xfrm>
              <a:off x="11349401" y="1191845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pic>
        <p:nvPicPr>
          <p:cNvPr id="20" name="Picture 19" descr="A close up of a logo  Description automatically generated">
            <a:extLst>
              <a:ext uri="{FF2B5EF4-FFF2-40B4-BE49-F238E27FC236}">
                <a16:creationId xmlns:a16="http://schemas.microsoft.com/office/drawing/2014/main" id="{B8419EFE-F936-47E6-9B99-1F802F04BA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6175" t="29355" r="9603" b="19558"/>
          <a:stretch/>
        </p:blipFill>
        <p:spPr>
          <a:xfrm>
            <a:off x="3568183" y="892035"/>
            <a:ext cx="3286103" cy="1006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28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5572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179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3629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90729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2452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23695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8564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5464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4273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7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5325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79773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7788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7436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02058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3570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075169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0338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14056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01442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662351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1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9983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19301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6262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352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1656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757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0576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 userDrawn="1"/>
        </p:nvGrpSpPr>
        <p:grpSpPr>
          <a:xfrm>
            <a:off x="7425267" y="-8467"/>
            <a:ext cx="4766733" cy="6866467"/>
            <a:chOff x="7425267" y="-8467"/>
            <a:chExt cx="4766733" cy="6866467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Isosceles Triangle 1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Isosceles Triangle 2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2" name="TextBox 21"/>
          <p:cNvSpPr txBox="1"/>
          <p:nvPr userDrawn="1"/>
        </p:nvSpPr>
        <p:spPr>
          <a:xfrm>
            <a:off x="3937000" y="3693054"/>
            <a:ext cx="4318000" cy="11049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800" dirty="0">
                <a:solidFill>
                  <a:schemeClr val="tx1"/>
                </a:solidFill>
              </a:rPr>
              <a:t>Thank you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 rot="10800000">
            <a:off x="0" y="-8467"/>
            <a:ext cx="4766733" cy="6866467"/>
            <a:chOff x="7425267" y="-8467"/>
            <a:chExt cx="4766733" cy="6866467"/>
          </a:xfrm>
        </p:grpSpPr>
        <p:cxnSp>
          <p:nvCxnSpPr>
            <p:cNvPr id="24" name="Straight Connector 23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2" name="Isosceles Triangle 31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3484" y="1937860"/>
            <a:ext cx="3865032" cy="1153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340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67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34981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2469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4414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71708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3518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64184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6142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1912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58082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3061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C332AEB-597D-7343-876A-DAF4CF6F12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A988610-1020-FE4D-AC1C-91D48891D79D}"/>
              </a:ext>
            </a:extLst>
          </p:cNvPr>
          <p:cNvSpPr/>
          <p:nvPr userDrawn="1"/>
        </p:nvSpPr>
        <p:spPr>
          <a:xfrm>
            <a:off x="1515417" y="0"/>
            <a:ext cx="10676583" cy="6858001"/>
          </a:xfrm>
          <a:prstGeom prst="rect">
            <a:avLst/>
          </a:prstGeom>
          <a:solidFill>
            <a:schemeClr val="tx1">
              <a:lumMod val="50000"/>
              <a:alpha val="5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200" dirty="0">
              <a:solidFill>
                <a:srgbClr val="FFFFFF"/>
              </a:solidFill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098400" cy="6858000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2" name="Frame 1">
            <a:extLst>
              <a:ext uri="{FF2B5EF4-FFF2-40B4-BE49-F238E27FC236}">
                <a16:creationId xmlns:a16="http://schemas.microsoft.com/office/drawing/2014/main" id="{85A7C68B-C5F2-BC4F-9AB4-9238FEEF95A3}"/>
              </a:ext>
            </a:extLst>
          </p:cNvPr>
          <p:cNvSpPr/>
          <p:nvPr userDrawn="1"/>
        </p:nvSpPr>
        <p:spPr>
          <a:xfrm>
            <a:off x="5796367" y="0"/>
            <a:ext cx="6395634" cy="6858000"/>
          </a:xfrm>
          <a:prstGeom prst="frame">
            <a:avLst>
              <a:gd name="adj1" fmla="val 3657"/>
            </a:avLst>
          </a:pr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5901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6945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69126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Κάντε κλικ για να προσθέσετε τίτλο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2720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275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14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66824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Κάντε κλικ για να προσθέσετε τίτλο</a:t>
            </a:r>
          </a:p>
        </p:txBody>
      </p:sp>
    </p:spTree>
    <p:extLst>
      <p:ext uri="{BB962C8B-B14F-4D97-AF65-F5344CB8AC3E}">
        <p14:creationId xmlns:p14="http://schemas.microsoft.com/office/powerpoint/2010/main" val="182561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556461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23193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416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59720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606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1906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38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/>
          <p:cNvGrpSpPr/>
          <p:nvPr userDrawn="1"/>
        </p:nvGrpSpPr>
        <p:grpSpPr>
          <a:xfrm>
            <a:off x="7425267" y="-8467"/>
            <a:ext cx="4766733" cy="6866467"/>
            <a:chOff x="7425267" y="-8467"/>
            <a:chExt cx="4766733" cy="6866467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Isosceles Triangle 19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grpSp>
        <p:nvGrpSpPr>
          <p:cNvPr id="26" name="Group 25"/>
          <p:cNvGrpSpPr/>
          <p:nvPr userDrawn="1"/>
        </p:nvGrpSpPr>
        <p:grpSpPr>
          <a:xfrm rot="10800000">
            <a:off x="0" y="-8467"/>
            <a:ext cx="4766733" cy="6866467"/>
            <a:chOff x="7425267" y="-8467"/>
            <a:chExt cx="4766733" cy="6866467"/>
          </a:xfrm>
        </p:grpSpPr>
        <p:cxnSp>
          <p:nvCxnSpPr>
            <p:cNvPr id="27" name="Straight Connector 26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2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3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4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5" name="Isosceles Triangle 34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pic>
        <p:nvPicPr>
          <p:cNvPr id="36" name="Picture 35" descr="A close up of a logo  Description automatically generated">
            <a:extLst>
              <a:ext uri="{FF2B5EF4-FFF2-40B4-BE49-F238E27FC236}">
                <a16:creationId xmlns:a16="http://schemas.microsoft.com/office/drawing/2014/main" id="{7BF6C005-03F3-4B19-907E-858DF5924B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6175" t="29355" r="9603" b="19558"/>
          <a:stretch/>
        </p:blipFill>
        <p:spPr>
          <a:xfrm>
            <a:off x="4163484" y="2843665"/>
            <a:ext cx="3865032" cy="1184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363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21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9278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568183" y="5890342"/>
            <a:ext cx="7591681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68183" y="5178206"/>
            <a:ext cx="7591681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38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3568183" y="2054548"/>
            <a:ext cx="7591681" cy="284771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grpSp>
        <p:nvGrpSpPr>
          <p:cNvPr id="39" name="Group 38"/>
          <p:cNvGrpSpPr/>
          <p:nvPr userDrawn="1"/>
        </p:nvGrpSpPr>
        <p:grpSpPr>
          <a:xfrm>
            <a:off x="0" y="-8467"/>
            <a:ext cx="12191997" cy="6866467"/>
            <a:chOff x="0" y="-8467"/>
            <a:chExt cx="12191997" cy="6866467"/>
          </a:xfrm>
        </p:grpSpPr>
        <p:grpSp>
          <p:nvGrpSpPr>
            <p:cNvPr id="40" name="Group 39"/>
            <p:cNvGrpSpPr/>
            <p:nvPr userDrawn="1"/>
          </p:nvGrpSpPr>
          <p:grpSpPr>
            <a:xfrm rot="10800000">
              <a:off x="0" y="-8467"/>
              <a:ext cx="4766733" cy="6866467"/>
              <a:chOff x="7425267" y="-8467"/>
              <a:chExt cx="4766733" cy="6866467"/>
            </a:xfrm>
          </p:grpSpPr>
          <p:cxnSp>
            <p:nvCxnSpPr>
              <p:cNvPr id="42" name="Straight Connector 41"/>
              <p:cNvCxnSpPr/>
              <p:nvPr/>
            </p:nvCxnSpPr>
            <p:spPr>
              <a:xfrm>
                <a:off x="9371012" y="0"/>
                <a:ext cx="1219200" cy="6858000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/>
              <p:cNvCxnSpPr/>
              <p:nvPr/>
            </p:nvCxnSpPr>
            <p:spPr>
              <a:xfrm flipH="1">
                <a:off x="7425267" y="3681413"/>
                <a:ext cx="4763558" cy="3176587"/>
              </a:xfrm>
              <a:prstGeom prst="line">
                <a:avLst/>
              </a:prstGeom>
              <a:ln w="952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Rectangle 23"/>
              <p:cNvSpPr/>
              <p:nvPr/>
            </p:nvSpPr>
            <p:spPr>
              <a:xfrm>
                <a:off x="9181476" y="-8467"/>
                <a:ext cx="3007349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3007349" h="6866467">
                    <a:moveTo>
                      <a:pt x="2045532" y="0"/>
                    </a:moveTo>
                    <a:lnTo>
                      <a:pt x="3007349" y="0"/>
                    </a:lnTo>
                    <a:lnTo>
                      <a:pt x="3007349" y="6866467"/>
                    </a:lnTo>
                    <a:lnTo>
                      <a:pt x="0" y="6866467"/>
                    </a:lnTo>
                    <a:lnTo>
                      <a:pt x="2045532" y="0"/>
                    </a:lnTo>
                    <a:close/>
                  </a:path>
                </a:pathLst>
              </a:custGeom>
              <a:solidFill>
                <a:schemeClr val="accent1">
                  <a:alpha val="3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45" name="Rectangle 25"/>
              <p:cNvSpPr/>
              <p:nvPr/>
            </p:nvSpPr>
            <p:spPr>
              <a:xfrm>
                <a:off x="9603442" y="-8467"/>
                <a:ext cx="2588558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2573311" h="6866467">
                    <a:moveTo>
                      <a:pt x="0" y="0"/>
                    </a:moveTo>
                    <a:lnTo>
                      <a:pt x="2573311" y="0"/>
                    </a:lnTo>
                    <a:lnTo>
                      <a:pt x="2573311" y="6866467"/>
                    </a:lnTo>
                    <a:lnTo>
                      <a:pt x="1202336" y="686646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alpha val="2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46" name="Isosceles Triangle 45"/>
              <p:cNvSpPr/>
              <p:nvPr userDrawn="1"/>
            </p:nvSpPr>
            <p:spPr>
              <a:xfrm>
                <a:off x="8932333" y="3048000"/>
                <a:ext cx="3259667" cy="3810000"/>
              </a:xfrm>
              <a:prstGeom prst="triangle">
                <a:avLst>
                  <a:gd name="adj" fmla="val 100000"/>
                </a:avLst>
              </a:prstGeom>
              <a:solidFill>
                <a:schemeClr val="accent2">
                  <a:alpha val="72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47" name="Rectangle 27"/>
              <p:cNvSpPr/>
              <p:nvPr/>
            </p:nvSpPr>
            <p:spPr>
              <a:xfrm>
                <a:off x="9334500" y="-8467"/>
                <a:ext cx="2854326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2858013" h="6866467">
                    <a:moveTo>
                      <a:pt x="0" y="0"/>
                    </a:moveTo>
                    <a:lnTo>
                      <a:pt x="2858013" y="0"/>
                    </a:lnTo>
                    <a:lnTo>
                      <a:pt x="2858013" y="6866467"/>
                    </a:lnTo>
                    <a:lnTo>
                      <a:pt x="2473942" y="686646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  <a:alpha val="7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48" name="Rectangle 28"/>
              <p:cNvSpPr/>
              <p:nvPr/>
            </p:nvSpPr>
            <p:spPr>
              <a:xfrm>
                <a:off x="10898730" y="-8467"/>
                <a:ext cx="1290094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1290094" h="6858000">
                    <a:moveTo>
                      <a:pt x="1019735" y="0"/>
                    </a:moveTo>
                    <a:lnTo>
                      <a:pt x="1290094" y="0"/>
                    </a:lnTo>
                    <a:lnTo>
                      <a:pt x="1290094" y="6858000"/>
                    </a:lnTo>
                    <a:lnTo>
                      <a:pt x="0" y="6858000"/>
                    </a:lnTo>
                    <a:lnTo>
                      <a:pt x="1019735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  <a:alpha val="7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49" name="Rectangle 29"/>
              <p:cNvSpPr/>
              <p:nvPr userDrawn="1"/>
            </p:nvSpPr>
            <p:spPr>
              <a:xfrm>
                <a:off x="10938999" y="-8467"/>
                <a:ext cx="1249825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1249825" h="6858000">
                    <a:moveTo>
                      <a:pt x="0" y="0"/>
                    </a:moveTo>
                    <a:lnTo>
                      <a:pt x="1249825" y="0"/>
                    </a:lnTo>
                    <a:lnTo>
                      <a:pt x="1249825" y="6858000"/>
                    </a:lnTo>
                    <a:lnTo>
                      <a:pt x="1109382" y="6858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alpha val="6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50" name="Isosceles Triangle 49"/>
              <p:cNvSpPr/>
              <p:nvPr userDrawn="1"/>
            </p:nvSpPr>
            <p:spPr>
              <a:xfrm>
                <a:off x="10371666" y="3589867"/>
                <a:ext cx="1817159" cy="3268133"/>
              </a:xfrm>
              <a:prstGeom prst="triangle">
                <a:avLst>
                  <a:gd name="adj" fmla="val 100000"/>
                </a:avLst>
              </a:prstGeom>
              <a:solidFill>
                <a:schemeClr val="accent1">
                  <a:alpha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</p:grpSp>
        <p:sp>
          <p:nvSpPr>
            <p:cNvPr id="41" name="Isosceles Triangle 40"/>
            <p:cNvSpPr/>
            <p:nvPr userDrawn="1"/>
          </p:nvSpPr>
          <p:spPr>
            <a:xfrm>
              <a:off x="11349401" y="1191845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pic>
        <p:nvPicPr>
          <p:cNvPr id="51" name="Picture 50" descr="A close up of a logo&#10;&#10;Description automatically generated">
            <a:extLst>
              <a:ext uri="{FF2B5EF4-FFF2-40B4-BE49-F238E27FC236}">
                <a16:creationId xmlns:a16="http://schemas.microsoft.com/office/drawing/2014/main" id="{B8419EFE-F936-47E6-9B99-1F802F04BA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6175" t="29355" r="9603" b="19558"/>
          <a:stretch/>
        </p:blipFill>
        <p:spPr>
          <a:xfrm>
            <a:off x="3568183" y="892035"/>
            <a:ext cx="3286103" cy="1006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00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6935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Κάντε κλικ για να προσθέσετε τίτλο</a:t>
            </a:r>
          </a:p>
        </p:txBody>
      </p:sp>
    </p:spTree>
    <p:extLst>
      <p:ext uri="{BB962C8B-B14F-4D97-AF65-F5344CB8AC3E}">
        <p14:creationId xmlns:p14="http://schemas.microsoft.com/office/powerpoint/2010/main" val="1917835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2730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87801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1135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4216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1316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98071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79819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378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827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76249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8640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1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355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255125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368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22737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3779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9381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Κάντε κλικ για να προσθέσετε τίτλο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2562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162267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97363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9985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877004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249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98013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7421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5455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5655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355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4" name="Group 33"/>
          <p:cNvGrpSpPr/>
          <p:nvPr userDrawn="1"/>
        </p:nvGrpSpPr>
        <p:grpSpPr>
          <a:xfrm>
            <a:off x="7425267" y="-8467"/>
            <a:ext cx="4766733" cy="6866467"/>
            <a:chOff x="7425267" y="-8467"/>
            <a:chExt cx="4766733" cy="6866467"/>
          </a:xfrm>
        </p:grpSpPr>
        <p:cxnSp>
          <p:nvCxnSpPr>
            <p:cNvPr id="35" name="Straight Connector 34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8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9" name="Isosceles Triangle 38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40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41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42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43" name="Isosceles Triangle 42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grpSp>
        <p:nvGrpSpPr>
          <p:cNvPr id="44" name="Group 43"/>
          <p:cNvGrpSpPr/>
          <p:nvPr userDrawn="1"/>
        </p:nvGrpSpPr>
        <p:grpSpPr>
          <a:xfrm rot="10800000">
            <a:off x="0" y="-8467"/>
            <a:ext cx="4766733" cy="6866467"/>
            <a:chOff x="7425267" y="-8467"/>
            <a:chExt cx="4766733" cy="6866467"/>
          </a:xfrm>
        </p:grpSpPr>
        <p:cxnSp>
          <p:nvCxnSpPr>
            <p:cNvPr id="45" name="Straight Connector 44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48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49" name="Isosceles Triangle 48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50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51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52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53" name="Isosceles Triangle 52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pic>
        <p:nvPicPr>
          <p:cNvPr id="54" name="Picture 53" descr="A close up of a logo&#10;&#10;Description automatically generated">
            <a:extLst>
              <a:ext uri="{FF2B5EF4-FFF2-40B4-BE49-F238E27FC236}">
                <a16:creationId xmlns:a16="http://schemas.microsoft.com/office/drawing/2014/main" id="{7BF6C005-03F3-4B19-907E-858DF5924B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6175" t="29355" r="9603" b="19558"/>
          <a:stretch/>
        </p:blipFill>
        <p:spPr>
          <a:xfrm>
            <a:off x="4163484" y="2843665"/>
            <a:ext cx="3865032" cy="1184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803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339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82088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0263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9304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2308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0215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14889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6024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22142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94926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64786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85189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2208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876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9067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9101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90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713755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57373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2379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7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568183" y="5890342"/>
            <a:ext cx="7591681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68183" y="5178206"/>
            <a:ext cx="7591681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3568183" y="2054548"/>
            <a:ext cx="7591681" cy="284771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0" y="-8467"/>
            <a:ext cx="12191997" cy="6866467"/>
            <a:chOff x="0" y="-8467"/>
            <a:chExt cx="12191997" cy="6866467"/>
          </a:xfrm>
        </p:grpSpPr>
        <p:grpSp>
          <p:nvGrpSpPr>
            <p:cNvPr id="16" name="Group 15"/>
            <p:cNvGrpSpPr/>
            <p:nvPr userDrawn="1"/>
          </p:nvGrpSpPr>
          <p:grpSpPr>
            <a:xfrm rot="10800000">
              <a:off x="0" y="-8467"/>
              <a:ext cx="4766733" cy="6866467"/>
              <a:chOff x="7425267" y="-8467"/>
              <a:chExt cx="4766733" cy="6866467"/>
            </a:xfrm>
          </p:grpSpPr>
          <p:cxnSp>
            <p:nvCxnSpPr>
              <p:cNvPr id="17" name="Straight Connector 16"/>
              <p:cNvCxnSpPr/>
              <p:nvPr/>
            </p:nvCxnSpPr>
            <p:spPr>
              <a:xfrm>
                <a:off x="9371012" y="0"/>
                <a:ext cx="1219200" cy="6858000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/>
              <p:cNvCxnSpPr/>
              <p:nvPr/>
            </p:nvCxnSpPr>
            <p:spPr>
              <a:xfrm flipH="1">
                <a:off x="7425267" y="3681413"/>
                <a:ext cx="4763558" cy="3176587"/>
              </a:xfrm>
              <a:prstGeom prst="line">
                <a:avLst/>
              </a:prstGeom>
              <a:ln w="952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Rectangle 23"/>
              <p:cNvSpPr/>
              <p:nvPr/>
            </p:nvSpPr>
            <p:spPr>
              <a:xfrm>
                <a:off x="9181476" y="-8467"/>
                <a:ext cx="3007349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3007349" h="6866467">
                    <a:moveTo>
                      <a:pt x="2045532" y="0"/>
                    </a:moveTo>
                    <a:lnTo>
                      <a:pt x="3007349" y="0"/>
                    </a:lnTo>
                    <a:lnTo>
                      <a:pt x="3007349" y="6866467"/>
                    </a:lnTo>
                    <a:lnTo>
                      <a:pt x="0" y="6866467"/>
                    </a:lnTo>
                    <a:lnTo>
                      <a:pt x="2045532" y="0"/>
                    </a:lnTo>
                    <a:close/>
                  </a:path>
                </a:pathLst>
              </a:custGeom>
              <a:solidFill>
                <a:schemeClr val="accent1">
                  <a:alpha val="3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24" name="Rectangle 25"/>
              <p:cNvSpPr/>
              <p:nvPr/>
            </p:nvSpPr>
            <p:spPr>
              <a:xfrm>
                <a:off x="9603442" y="-8467"/>
                <a:ext cx="2588558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2573311" h="6866467">
                    <a:moveTo>
                      <a:pt x="0" y="0"/>
                    </a:moveTo>
                    <a:lnTo>
                      <a:pt x="2573311" y="0"/>
                    </a:lnTo>
                    <a:lnTo>
                      <a:pt x="2573311" y="6866467"/>
                    </a:lnTo>
                    <a:lnTo>
                      <a:pt x="1202336" y="686646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alpha val="2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25" name="Isosceles Triangle 24"/>
              <p:cNvSpPr/>
              <p:nvPr userDrawn="1"/>
            </p:nvSpPr>
            <p:spPr>
              <a:xfrm>
                <a:off x="8932333" y="3048000"/>
                <a:ext cx="3259667" cy="3810000"/>
              </a:xfrm>
              <a:prstGeom prst="triangle">
                <a:avLst>
                  <a:gd name="adj" fmla="val 100000"/>
                </a:avLst>
              </a:prstGeom>
              <a:solidFill>
                <a:schemeClr val="accent2">
                  <a:alpha val="72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28" name="Rectangle 27"/>
              <p:cNvSpPr/>
              <p:nvPr/>
            </p:nvSpPr>
            <p:spPr>
              <a:xfrm>
                <a:off x="9334500" y="-8467"/>
                <a:ext cx="2854326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2858013" h="6866467">
                    <a:moveTo>
                      <a:pt x="0" y="0"/>
                    </a:moveTo>
                    <a:lnTo>
                      <a:pt x="2858013" y="0"/>
                    </a:lnTo>
                    <a:lnTo>
                      <a:pt x="2858013" y="6866467"/>
                    </a:lnTo>
                    <a:lnTo>
                      <a:pt x="2473942" y="686646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  <a:alpha val="7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29" name="Rectangle 28"/>
              <p:cNvSpPr/>
              <p:nvPr/>
            </p:nvSpPr>
            <p:spPr>
              <a:xfrm>
                <a:off x="10898730" y="-8467"/>
                <a:ext cx="1290094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1290094" h="6858000">
                    <a:moveTo>
                      <a:pt x="1019735" y="0"/>
                    </a:moveTo>
                    <a:lnTo>
                      <a:pt x="1290094" y="0"/>
                    </a:lnTo>
                    <a:lnTo>
                      <a:pt x="1290094" y="6858000"/>
                    </a:lnTo>
                    <a:lnTo>
                      <a:pt x="0" y="6858000"/>
                    </a:lnTo>
                    <a:lnTo>
                      <a:pt x="1019735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  <a:alpha val="7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30" name="Rectangle 29"/>
              <p:cNvSpPr/>
              <p:nvPr userDrawn="1"/>
            </p:nvSpPr>
            <p:spPr>
              <a:xfrm>
                <a:off x="10938999" y="-8467"/>
                <a:ext cx="1249825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1249825" h="6858000">
                    <a:moveTo>
                      <a:pt x="0" y="0"/>
                    </a:moveTo>
                    <a:lnTo>
                      <a:pt x="1249825" y="0"/>
                    </a:lnTo>
                    <a:lnTo>
                      <a:pt x="1249825" y="6858000"/>
                    </a:lnTo>
                    <a:lnTo>
                      <a:pt x="1109382" y="6858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alpha val="6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31" name="Isosceles Triangle 30"/>
              <p:cNvSpPr/>
              <p:nvPr userDrawn="1"/>
            </p:nvSpPr>
            <p:spPr>
              <a:xfrm>
                <a:off x="10371666" y="3589867"/>
                <a:ext cx="1817159" cy="3268133"/>
              </a:xfrm>
              <a:prstGeom prst="triangle">
                <a:avLst>
                  <a:gd name="adj" fmla="val 100000"/>
                </a:avLst>
              </a:prstGeom>
              <a:solidFill>
                <a:schemeClr val="accent1">
                  <a:alpha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</p:grpSp>
        <p:sp>
          <p:nvSpPr>
            <p:cNvPr id="34" name="Isosceles Triangle 33"/>
            <p:cNvSpPr/>
            <p:nvPr userDrawn="1"/>
          </p:nvSpPr>
          <p:spPr>
            <a:xfrm>
              <a:off x="11349401" y="1191845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dirty="0"/>
            </a:p>
          </p:txBody>
        </p:sp>
      </p:grpSp>
      <p:pic>
        <p:nvPicPr>
          <p:cNvPr id="20" name="Picture 19" descr="A close up of a logo&#10;&#10;Description automatically generated">
            <a:extLst>
              <a:ext uri="{FF2B5EF4-FFF2-40B4-BE49-F238E27FC236}">
                <a16:creationId xmlns:a16="http://schemas.microsoft.com/office/drawing/2014/main" id="{B8419EFE-F936-47E6-9B99-1F802F04BA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6175" t="29355" r="9603" b="19558"/>
          <a:stretch/>
        </p:blipFill>
        <p:spPr>
          <a:xfrm>
            <a:off x="3568183" y="892035"/>
            <a:ext cx="3286103" cy="1006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730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55624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11025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2541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03806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5317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802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205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3924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516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07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6712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1900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78402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64081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1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0104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43553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294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487703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288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255793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469933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437330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5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6437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3834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0155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5275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3689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3507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/>
          <p:cNvGrpSpPr/>
          <p:nvPr userDrawn="1"/>
        </p:nvGrpSpPr>
        <p:grpSpPr>
          <a:xfrm>
            <a:off x="7425267" y="-8467"/>
            <a:ext cx="4766733" cy="6866467"/>
            <a:chOff x="7425267" y="-8467"/>
            <a:chExt cx="4766733" cy="6866467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Isosceles Triangle 19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grpSp>
        <p:nvGrpSpPr>
          <p:cNvPr id="26" name="Group 25"/>
          <p:cNvGrpSpPr/>
          <p:nvPr userDrawn="1"/>
        </p:nvGrpSpPr>
        <p:grpSpPr>
          <a:xfrm rot="10800000">
            <a:off x="0" y="-8467"/>
            <a:ext cx="4766733" cy="6866467"/>
            <a:chOff x="7425267" y="-8467"/>
            <a:chExt cx="4766733" cy="6866467"/>
          </a:xfrm>
        </p:grpSpPr>
        <p:cxnSp>
          <p:nvCxnSpPr>
            <p:cNvPr id="27" name="Straight Connector 26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2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3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4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5" name="Isosceles Triangle 34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pic>
        <p:nvPicPr>
          <p:cNvPr id="36" name="Picture 35" descr="A close up of a logo&#10;&#10;Description automatically generated">
            <a:extLst>
              <a:ext uri="{FF2B5EF4-FFF2-40B4-BE49-F238E27FC236}">
                <a16:creationId xmlns:a16="http://schemas.microsoft.com/office/drawing/2014/main" id="{7BF6C005-03F3-4B19-907E-858DF5924B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6175" t="29355" r="9603" b="19558"/>
          <a:stretch/>
        </p:blipFill>
        <p:spPr>
          <a:xfrm>
            <a:off x="4163484" y="2843665"/>
            <a:ext cx="3865032" cy="1184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480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301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568183" y="5890342"/>
            <a:ext cx="7591681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68183" y="5178206"/>
            <a:ext cx="7591681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3568183" y="2054548"/>
            <a:ext cx="7591681" cy="284771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0" y="-8467"/>
            <a:ext cx="12191997" cy="6866467"/>
            <a:chOff x="0" y="-8467"/>
            <a:chExt cx="12191997" cy="6866467"/>
          </a:xfrm>
        </p:grpSpPr>
        <p:grpSp>
          <p:nvGrpSpPr>
            <p:cNvPr id="24" name="Group 23"/>
            <p:cNvGrpSpPr/>
            <p:nvPr userDrawn="1"/>
          </p:nvGrpSpPr>
          <p:grpSpPr>
            <a:xfrm rot="10800000">
              <a:off x="0" y="-8467"/>
              <a:ext cx="4766733" cy="6866467"/>
              <a:chOff x="7425267" y="-8467"/>
              <a:chExt cx="4766733" cy="6866467"/>
            </a:xfrm>
          </p:grpSpPr>
          <p:cxnSp>
            <p:nvCxnSpPr>
              <p:cNvPr id="26" name="Straight Connector 25"/>
              <p:cNvCxnSpPr/>
              <p:nvPr/>
            </p:nvCxnSpPr>
            <p:spPr>
              <a:xfrm>
                <a:off x="9371012" y="0"/>
                <a:ext cx="1219200" cy="6858000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/>
            </p:nvCxnSpPr>
            <p:spPr>
              <a:xfrm flipH="1">
                <a:off x="7425267" y="3681413"/>
                <a:ext cx="4763558" cy="3176587"/>
              </a:xfrm>
              <a:prstGeom prst="line">
                <a:avLst/>
              </a:prstGeom>
              <a:ln w="952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Rectangle 23"/>
              <p:cNvSpPr/>
              <p:nvPr/>
            </p:nvSpPr>
            <p:spPr>
              <a:xfrm>
                <a:off x="9181476" y="-8467"/>
                <a:ext cx="3007349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3007349" h="6866467">
                    <a:moveTo>
                      <a:pt x="2045532" y="0"/>
                    </a:moveTo>
                    <a:lnTo>
                      <a:pt x="3007349" y="0"/>
                    </a:lnTo>
                    <a:lnTo>
                      <a:pt x="3007349" y="6866467"/>
                    </a:lnTo>
                    <a:lnTo>
                      <a:pt x="0" y="6866467"/>
                    </a:lnTo>
                    <a:lnTo>
                      <a:pt x="2045532" y="0"/>
                    </a:lnTo>
                    <a:close/>
                  </a:path>
                </a:pathLst>
              </a:custGeom>
              <a:solidFill>
                <a:schemeClr val="accent1">
                  <a:alpha val="3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29" name="Rectangle 25"/>
              <p:cNvSpPr/>
              <p:nvPr/>
            </p:nvSpPr>
            <p:spPr>
              <a:xfrm>
                <a:off x="9603442" y="-8467"/>
                <a:ext cx="2588558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2573311" h="6866467">
                    <a:moveTo>
                      <a:pt x="0" y="0"/>
                    </a:moveTo>
                    <a:lnTo>
                      <a:pt x="2573311" y="0"/>
                    </a:lnTo>
                    <a:lnTo>
                      <a:pt x="2573311" y="6866467"/>
                    </a:lnTo>
                    <a:lnTo>
                      <a:pt x="1202336" y="686646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alpha val="2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30" name="Isosceles Triangle 29"/>
              <p:cNvSpPr/>
              <p:nvPr userDrawn="1"/>
            </p:nvSpPr>
            <p:spPr>
              <a:xfrm>
                <a:off x="8932333" y="3048000"/>
                <a:ext cx="3259667" cy="3810000"/>
              </a:xfrm>
              <a:prstGeom prst="triangle">
                <a:avLst>
                  <a:gd name="adj" fmla="val 100000"/>
                </a:avLst>
              </a:prstGeom>
              <a:solidFill>
                <a:schemeClr val="accent2">
                  <a:alpha val="72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31" name="Rectangle 27"/>
              <p:cNvSpPr/>
              <p:nvPr/>
            </p:nvSpPr>
            <p:spPr>
              <a:xfrm>
                <a:off x="9334500" y="-8467"/>
                <a:ext cx="2854326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2858013" h="6866467">
                    <a:moveTo>
                      <a:pt x="0" y="0"/>
                    </a:moveTo>
                    <a:lnTo>
                      <a:pt x="2858013" y="0"/>
                    </a:lnTo>
                    <a:lnTo>
                      <a:pt x="2858013" y="6866467"/>
                    </a:lnTo>
                    <a:lnTo>
                      <a:pt x="2473942" y="686646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  <a:alpha val="7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32" name="Rectangle 28"/>
              <p:cNvSpPr/>
              <p:nvPr/>
            </p:nvSpPr>
            <p:spPr>
              <a:xfrm>
                <a:off x="10898730" y="-8467"/>
                <a:ext cx="1290094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1290094" h="6858000">
                    <a:moveTo>
                      <a:pt x="1019735" y="0"/>
                    </a:moveTo>
                    <a:lnTo>
                      <a:pt x="1290094" y="0"/>
                    </a:lnTo>
                    <a:lnTo>
                      <a:pt x="1290094" y="6858000"/>
                    </a:lnTo>
                    <a:lnTo>
                      <a:pt x="0" y="6858000"/>
                    </a:lnTo>
                    <a:lnTo>
                      <a:pt x="1019735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  <a:alpha val="7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33" name="Rectangle 29"/>
              <p:cNvSpPr/>
              <p:nvPr userDrawn="1"/>
            </p:nvSpPr>
            <p:spPr>
              <a:xfrm>
                <a:off x="10938999" y="-8467"/>
                <a:ext cx="1249825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1249825" h="6858000">
                    <a:moveTo>
                      <a:pt x="0" y="0"/>
                    </a:moveTo>
                    <a:lnTo>
                      <a:pt x="1249825" y="0"/>
                    </a:lnTo>
                    <a:lnTo>
                      <a:pt x="1249825" y="6858000"/>
                    </a:lnTo>
                    <a:lnTo>
                      <a:pt x="1109382" y="6858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alpha val="6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34" name="Isosceles Triangle 33"/>
              <p:cNvSpPr/>
              <p:nvPr userDrawn="1"/>
            </p:nvSpPr>
            <p:spPr>
              <a:xfrm>
                <a:off x="10371666" y="3589867"/>
                <a:ext cx="1817159" cy="3268133"/>
              </a:xfrm>
              <a:prstGeom prst="triangle">
                <a:avLst>
                  <a:gd name="adj" fmla="val 100000"/>
                </a:avLst>
              </a:prstGeom>
              <a:solidFill>
                <a:schemeClr val="accent1">
                  <a:alpha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</p:grpSp>
        <p:sp>
          <p:nvSpPr>
            <p:cNvPr id="25" name="Isosceles Triangle 24"/>
            <p:cNvSpPr/>
            <p:nvPr userDrawn="1"/>
          </p:nvSpPr>
          <p:spPr>
            <a:xfrm>
              <a:off x="11349401" y="1191845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dirty="0"/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8183" y="892035"/>
            <a:ext cx="3286102" cy="980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341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23380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51001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80987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88.xml"/><Relationship Id="rId42" Type="http://schemas.openxmlformats.org/officeDocument/2006/relationships/slideLayout" Target="../slideLayouts/slideLayout109.xml"/><Relationship Id="rId47" Type="http://schemas.openxmlformats.org/officeDocument/2006/relationships/slideLayout" Target="../slideLayouts/slideLayout114.xml"/><Relationship Id="rId63" Type="http://schemas.openxmlformats.org/officeDocument/2006/relationships/slideLayout" Target="../slideLayouts/slideLayout130.xml"/><Relationship Id="rId68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9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78.xml"/><Relationship Id="rId24" Type="http://schemas.openxmlformats.org/officeDocument/2006/relationships/slideLayout" Target="../slideLayouts/slideLayout91.xml"/><Relationship Id="rId32" Type="http://schemas.openxmlformats.org/officeDocument/2006/relationships/slideLayout" Target="../slideLayouts/slideLayout99.xml"/><Relationship Id="rId37" Type="http://schemas.openxmlformats.org/officeDocument/2006/relationships/slideLayout" Target="../slideLayouts/slideLayout104.xml"/><Relationship Id="rId40" Type="http://schemas.openxmlformats.org/officeDocument/2006/relationships/slideLayout" Target="../slideLayouts/slideLayout107.xml"/><Relationship Id="rId45" Type="http://schemas.openxmlformats.org/officeDocument/2006/relationships/slideLayout" Target="../slideLayouts/slideLayout112.xml"/><Relationship Id="rId53" Type="http://schemas.openxmlformats.org/officeDocument/2006/relationships/slideLayout" Target="../slideLayouts/slideLayout120.xml"/><Relationship Id="rId58" Type="http://schemas.openxmlformats.org/officeDocument/2006/relationships/slideLayout" Target="../slideLayouts/slideLayout125.xml"/><Relationship Id="rId66" Type="http://schemas.openxmlformats.org/officeDocument/2006/relationships/slideLayout" Target="../slideLayouts/slideLayout133.xml"/><Relationship Id="rId74" Type="http://schemas.openxmlformats.org/officeDocument/2006/relationships/image" Target="../media/image1.emf"/><Relationship Id="rId5" Type="http://schemas.openxmlformats.org/officeDocument/2006/relationships/slideLayout" Target="../slideLayouts/slideLayout72.xml"/><Relationship Id="rId61" Type="http://schemas.openxmlformats.org/officeDocument/2006/relationships/slideLayout" Target="../slideLayouts/slideLayout128.xml"/><Relationship Id="rId1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81.xml"/><Relationship Id="rId22" Type="http://schemas.openxmlformats.org/officeDocument/2006/relationships/slideLayout" Target="../slideLayouts/slideLayout89.xml"/><Relationship Id="rId27" Type="http://schemas.openxmlformats.org/officeDocument/2006/relationships/slideLayout" Target="../slideLayouts/slideLayout94.xml"/><Relationship Id="rId30" Type="http://schemas.openxmlformats.org/officeDocument/2006/relationships/slideLayout" Target="../slideLayouts/slideLayout97.xml"/><Relationship Id="rId35" Type="http://schemas.openxmlformats.org/officeDocument/2006/relationships/slideLayout" Target="../slideLayouts/slideLayout102.xml"/><Relationship Id="rId43" Type="http://schemas.openxmlformats.org/officeDocument/2006/relationships/slideLayout" Target="../slideLayouts/slideLayout110.xml"/><Relationship Id="rId48" Type="http://schemas.openxmlformats.org/officeDocument/2006/relationships/slideLayout" Target="../slideLayouts/slideLayout115.xml"/><Relationship Id="rId56" Type="http://schemas.openxmlformats.org/officeDocument/2006/relationships/slideLayout" Target="../slideLayouts/slideLayout123.xml"/><Relationship Id="rId64" Type="http://schemas.openxmlformats.org/officeDocument/2006/relationships/slideLayout" Target="../slideLayouts/slideLayout131.xml"/><Relationship Id="rId69" Type="http://schemas.openxmlformats.org/officeDocument/2006/relationships/theme" Target="../theme/theme2.xml"/><Relationship Id="rId8" Type="http://schemas.openxmlformats.org/officeDocument/2006/relationships/slideLayout" Target="../slideLayouts/slideLayout75.xml"/><Relationship Id="rId51" Type="http://schemas.openxmlformats.org/officeDocument/2006/relationships/slideLayout" Target="../slideLayouts/slideLayout118.xml"/><Relationship Id="rId72" Type="http://schemas.openxmlformats.org/officeDocument/2006/relationships/tags" Target="../tags/tag26.xml"/><Relationship Id="rId3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5" Type="http://schemas.openxmlformats.org/officeDocument/2006/relationships/slideLayout" Target="../slideLayouts/slideLayout92.xml"/><Relationship Id="rId33" Type="http://schemas.openxmlformats.org/officeDocument/2006/relationships/slideLayout" Target="../slideLayouts/slideLayout100.xml"/><Relationship Id="rId38" Type="http://schemas.openxmlformats.org/officeDocument/2006/relationships/slideLayout" Target="../slideLayouts/slideLayout105.xml"/><Relationship Id="rId46" Type="http://schemas.openxmlformats.org/officeDocument/2006/relationships/slideLayout" Target="../slideLayouts/slideLayout113.xml"/><Relationship Id="rId59" Type="http://schemas.openxmlformats.org/officeDocument/2006/relationships/slideLayout" Target="../slideLayouts/slideLayout126.xml"/><Relationship Id="rId67" Type="http://schemas.openxmlformats.org/officeDocument/2006/relationships/slideLayout" Target="../slideLayouts/slideLayout134.xml"/><Relationship Id="rId20" Type="http://schemas.openxmlformats.org/officeDocument/2006/relationships/slideLayout" Target="../slideLayouts/slideLayout87.xml"/><Relationship Id="rId41" Type="http://schemas.openxmlformats.org/officeDocument/2006/relationships/slideLayout" Target="../slideLayouts/slideLayout108.xml"/><Relationship Id="rId54" Type="http://schemas.openxmlformats.org/officeDocument/2006/relationships/slideLayout" Target="../slideLayouts/slideLayout121.xml"/><Relationship Id="rId62" Type="http://schemas.openxmlformats.org/officeDocument/2006/relationships/slideLayout" Target="../slideLayouts/slideLayout129.xml"/><Relationship Id="rId70" Type="http://schemas.openxmlformats.org/officeDocument/2006/relationships/vmlDrawing" Target="../drawings/vmlDrawing19.v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2.xml"/><Relationship Id="rId23" Type="http://schemas.openxmlformats.org/officeDocument/2006/relationships/slideLayout" Target="../slideLayouts/slideLayout90.xml"/><Relationship Id="rId28" Type="http://schemas.openxmlformats.org/officeDocument/2006/relationships/slideLayout" Target="../slideLayouts/slideLayout95.xml"/><Relationship Id="rId36" Type="http://schemas.openxmlformats.org/officeDocument/2006/relationships/slideLayout" Target="../slideLayouts/slideLayout103.xml"/><Relationship Id="rId49" Type="http://schemas.openxmlformats.org/officeDocument/2006/relationships/slideLayout" Target="../slideLayouts/slideLayout116.xml"/><Relationship Id="rId57" Type="http://schemas.openxmlformats.org/officeDocument/2006/relationships/slideLayout" Target="../slideLayouts/slideLayout124.xml"/><Relationship Id="rId10" Type="http://schemas.openxmlformats.org/officeDocument/2006/relationships/slideLayout" Target="../slideLayouts/slideLayout77.xml"/><Relationship Id="rId31" Type="http://schemas.openxmlformats.org/officeDocument/2006/relationships/slideLayout" Target="../slideLayouts/slideLayout98.xml"/><Relationship Id="rId44" Type="http://schemas.openxmlformats.org/officeDocument/2006/relationships/slideLayout" Target="../slideLayouts/slideLayout111.xml"/><Relationship Id="rId52" Type="http://schemas.openxmlformats.org/officeDocument/2006/relationships/slideLayout" Target="../slideLayouts/slideLayout119.xml"/><Relationship Id="rId60" Type="http://schemas.openxmlformats.org/officeDocument/2006/relationships/slideLayout" Target="../slideLayouts/slideLayout127.xml"/><Relationship Id="rId65" Type="http://schemas.openxmlformats.org/officeDocument/2006/relationships/slideLayout" Target="../slideLayouts/slideLayout132.xml"/><Relationship Id="rId73" Type="http://schemas.openxmlformats.org/officeDocument/2006/relationships/oleObject" Target="../embeddings/oleObject19.bin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39" Type="http://schemas.openxmlformats.org/officeDocument/2006/relationships/slideLayout" Target="../slideLayouts/slideLayout106.xml"/><Relationship Id="rId34" Type="http://schemas.openxmlformats.org/officeDocument/2006/relationships/slideLayout" Target="../slideLayouts/slideLayout101.xml"/><Relationship Id="rId50" Type="http://schemas.openxmlformats.org/officeDocument/2006/relationships/slideLayout" Target="../slideLayouts/slideLayout117.xml"/><Relationship Id="rId55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74.xml"/><Relationship Id="rId71" Type="http://schemas.openxmlformats.org/officeDocument/2006/relationships/tags" Target="../tags/tag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11304660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chemeClr val="bg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/>
          <a:p>
            <a:r>
              <a:rPr lang="en-US"/>
              <a:t>Κάντε κλικ για να προσθέσετε τίτλο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/>
          <a:p>
            <a:pPr lvl="0"/>
            <a:r>
              <a:rPr lang="en-US"/>
              <a:t>Επεξεργασία βασικών χαρακτήρων κειμένου</a:t>
            </a:r>
          </a:p>
          <a:p>
            <a:pPr lvl="1"/>
            <a:r>
              <a:rPr lang="en-US"/>
              <a:t>Δεύτερο επίπεδο</a:t>
            </a:r>
          </a:p>
          <a:p>
            <a:pPr lvl="2"/>
            <a:r>
              <a:rPr lang="en-US"/>
              <a:t>Τρίτο επίπεδο</a:t>
            </a:r>
          </a:p>
          <a:p>
            <a:pPr lvl="3"/>
            <a:r>
              <a:rPr lang="en-US"/>
              <a:t>Τέταρτο επίπεδο</a:t>
            </a:r>
          </a:p>
          <a:p>
            <a:pPr lvl="4"/>
            <a:r>
              <a:rPr lang="en-US"/>
              <a:t>Πέμπτο επίπεδο</a:t>
            </a:r>
          </a:p>
          <a:p>
            <a:pPr lvl="5"/>
            <a:r>
              <a:rPr lang="en-US"/>
              <a:t>Επίπεδο έξι</a:t>
            </a:r>
          </a:p>
          <a:p>
            <a:pPr lvl="6"/>
            <a:r>
              <a:rPr lang="en-US"/>
              <a:t>Επίπεδο επτά</a:t>
            </a:r>
          </a:p>
          <a:p>
            <a:pPr lvl="7"/>
            <a:r>
              <a:rPr lang="en-US"/>
              <a:t>Επίπεδο οκτώ</a:t>
            </a:r>
          </a:p>
          <a:p>
            <a:pPr lvl="8"/>
            <a:r>
              <a:rPr lang="en-US"/>
              <a:t>Επίπεδο εννέα</a:t>
            </a:r>
          </a:p>
        </p:txBody>
      </p:sp>
    </p:spTree>
    <p:extLst>
      <p:ext uri="{BB962C8B-B14F-4D97-AF65-F5344CB8AC3E}">
        <p14:creationId xmlns:p14="http://schemas.microsoft.com/office/powerpoint/2010/main" val="3262207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6" r:id="rId1"/>
    <p:sldLayoutId id="2147485187" r:id="rId2"/>
    <p:sldLayoutId id="2147485188" r:id="rId3"/>
    <p:sldLayoutId id="2147485189" r:id="rId4"/>
    <p:sldLayoutId id="2147485190" r:id="rId5"/>
    <p:sldLayoutId id="2147485191" r:id="rId6"/>
    <p:sldLayoutId id="2147485192" r:id="rId7"/>
    <p:sldLayoutId id="2147485193" r:id="rId8"/>
    <p:sldLayoutId id="2147485194" r:id="rId9"/>
    <p:sldLayoutId id="2147485195" r:id="rId10"/>
    <p:sldLayoutId id="2147485196" r:id="rId11"/>
    <p:sldLayoutId id="2147485197" r:id="rId12"/>
    <p:sldLayoutId id="2147485198" r:id="rId13"/>
    <p:sldLayoutId id="2147485199" r:id="rId14"/>
    <p:sldLayoutId id="2147485200" r:id="rId15"/>
    <p:sldLayoutId id="2147485201" r:id="rId16"/>
    <p:sldLayoutId id="2147485202" r:id="rId17"/>
    <p:sldLayoutId id="2147485203" r:id="rId18"/>
    <p:sldLayoutId id="2147485204" r:id="rId19"/>
    <p:sldLayoutId id="2147485205" r:id="rId20"/>
    <p:sldLayoutId id="2147485206" r:id="rId21"/>
    <p:sldLayoutId id="2147485207" r:id="rId22"/>
    <p:sldLayoutId id="2147485208" r:id="rId23"/>
    <p:sldLayoutId id="2147485209" r:id="rId24"/>
    <p:sldLayoutId id="2147485210" r:id="rId25"/>
    <p:sldLayoutId id="2147485211" r:id="rId26"/>
    <p:sldLayoutId id="2147485212" r:id="rId27"/>
    <p:sldLayoutId id="2147485213" r:id="rId28"/>
    <p:sldLayoutId id="2147485214" r:id="rId29"/>
    <p:sldLayoutId id="2147485215" r:id="rId30"/>
    <p:sldLayoutId id="2147485216" r:id="rId31"/>
    <p:sldLayoutId id="2147485217" r:id="rId32"/>
    <p:sldLayoutId id="2147485218" r:id="rId33"/>
    <p:sldLayoutId id="2147485219" r:id="rId34"/>
    <p:sldLayoutId id="2147485220" r:id="rId35"/>
    <p:sldLayoutId id="2147485221" r:id="rId36"/>
    <p:sldLayoutId id="2147485222" r:id="rId37"/>
    <p:sldLayoutId id="2147485223" r:id="rId38"/>
    <p:sldLayoutId id="2147485224" r:id="rId39"/>
    <p:sldLayoutId id="2147485225" r:id="rId40"/>
    <p:sldLayoutId id="2147485226" r:id="rId41"/>
    <p:sldLayoutId id="2147485227" r:id="rId42"/>
    <p:sldLayoutId id="2147485228" r:id="rId43"/>
    <p:sldLayoutId id="2147485229" r:id="rId44"/>
    <p:sldLayoutId id="2147485230" r:id="rId45"/>
    <p:sldLayoutId id="2147485231" r:id="rId46"/>
    <p:sldLayoutId id="2147485232" r:id="rId47"/>
    <p:sldLayoutId id="2147485233" r:id="rId48"/>
    <p:sldLayoutId id="2147485234" r:id="rId49"/>
    <p:sldLayoutId id="2147485235" r:id="rId50"/>
    <p:sldLayoutId id="2147485236" r:id="rId51"/>
    <p:sldLayoutId id="2147485237" r:id="rId52"/>
    <p:sldLayoutId id="2147485238" r:id="rId53"/>
    <p:sldLayoutId id="2147485239" r:id="rId54"/>
    <p:sldLayoutId id="2147485240" r:id="rId55"/>
    <p:sldLayoutId id="2147485241" r:id="rId56"/>
    <p:sldLayoutId id="2147485242" r:id="rId57"/>
    <p:sldLayoutId id="2147485243" r:id="rId58"/>
    <p:sldLayoutId id="2147485244" r:id="rId59"/>
    <p:sldLayoutId id="2147485245" r:id="rId60"/>
    <p:sldLayoutId id="2147485246" r:id="rId61"/>
    <p:sldLayoutId id="2147485247" r:id="rId62"/>
    <p:sldLayoutId id="2147485248" r:id="rId63"/>
    <p:sldLayoutId id="2147485249" r:id="rId64"/>
    <p:sldLayoutId id="2147485250" r:id="rId65"/>
    <p:sldLayoutId id="2147485251" r:id="rId66"/>
    <p:sldLayoutId id="2147485252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3" name="think-cell Slide" r:id="rId73" imgW="270" imgH="270" progId="TCLayout.ActiveDocument.1">
                  <p:embed/>
                </p:oleObj>
              </mc:Choice>
              <mc:Fallback>
                <p:oleObj name="think-cell Slide" r:id="rId7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chemeClr val="bg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924269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54" r:id="rId1"/>
    <p:sldLayoutId id="2147485255" r:id="rId2"/>
    <p:sldLayoutId id="2147485256" r:id="rId3"/>
    <p:sldLayoutId id="2147485257" r:id="rId4"/>
    <p:sldLayoutId id="2147485258" r:id="rId5"/>
    <p:sldLayoutId id="2147485259" r:id="rId6"/>
    <p:sldLayoutId id="2147485260" r:id="rId7"/>
    <p:sldLayoutId id="2147485261" r:id="rId8"/>
    <p:sldLayoutId id="2147485262" r:id="rId9"/>
    <p:sldLayoutId id="2147485263" r:id="rId10"/>
    <p:sldLayoutId id="2147485264" r:id="rId11"/>
    <p:sldLayoutId id="2147485265" r:id="rId12"/>
    <p:sldLayoutId id="2147485266" r:id="rId13"/>
    <p:sldLayoutId id="2147485267" r:id="rId14"/>
    <p:sldLayoutId id="2147485268" r:id="rId15"/>
    <p:sldLayoutId id="2147485269" r:id="rId16"/>
    <p:sldLayoutId id="2147485270" r:id="rId17"/>
    <p:sldLayoutId id="2147485271" r:id="rId18"/>
    <p:sldLayoutId id="2147485272" r:id="rId19"/>
    <p:sldLayoutId id="2147485273" r:id="rId20"/>
    <p:sldLayoutId id="2147485274" r:id="rId21"/>
    <p:sldLayoutId id="2147485275" r:id="rId22"/>
    <p:sldLayoutId id="2147485276" r:id="rId23"/>
    <p:sldLayoutId id="2147485277" r:id="rId24"/>
    <p:sldLayoutId id="2147485278" r:id="rId25"/>
    <p:sldLayoutId id="2147485279" r:id="rId26"/>
    <p:sldLayoutId id="2147485280" r:id="rId27"/>
    <p:sldLayoutId id="2147485281" r:id="rId28"/>
    <p:sldLayoutId id="2147485282" r:id="rId29"/>
    <p:sldLayoutId id="2147485283" r:id="rId30"/>
    <p:sldLayoutId id="2147485284" r:id="rId31"/>
    <p:sldLayoutId id="2147485285" r:id="rId32"/>
    <p:sldLayoutId id="2147485286" r:id="rId33"/>
    <p:sldLayoutId id="2147485287" r:id="rId34"/>
    <p:sldLayoutId id="2147485288" r:id="rId35"/>
    <p:sldLayoutId id="2147485289" r:id="rId36"/>
    <p:sldLayoutId id="2147485290" r:id="rId37"/>
    <p:sldLayoutId id="2147485291" r:id="rId38"/>
    <p:sldLayoutId id="2147485292" r:id="rId39"/>
    <p:sldLayoutId id="2147485293" r:id="rId40"/>
    <p:sldLayoutId id="2147485294" r:id="rId41"/>
    <p:sldLayoutId id="2147485295" r:id="rId42"/>
    <p:sldLayoutId id="2147485296" r:id="rId43"/>
    <p:sldLayoutId id="2147485297" r:id="rId44"/>
    <p:sldLayoutId id="2147485298" r:id="rId45"/>
    <p:sldLayoutId id="2147485299" r:id="rId46"/>
    <p:sldLayoutId id="2147485300" r:id="rId47"/>
    <p:sldLayoutId id="2147485301" r:id="rId48"/>
    <p:sldLayoutId id="2147485302" r:id="rId49"/>
    <p:sldLayoutId id="2147485303" r:id="rId50"/>
    <p:sldLayoutId id="2147485304" r:id="rId51"/>
    <p:sldLayoutId id="2147485305" r:id="rId52"/>
    <p:sldLayoutId id="2147485306" r:id="rId53"/>
    <p:sldLayoutId id="2147485307" r:id="rId54"/>
    <p:sldLayoutId id="2147485308" r:id="rId55"/>
    <p:sldLayoutId id="2147485309" r:id="rId56"/>
    <p:sldLayoutId id="2147485310" r:id="rId57"/>
    <p:sldLayoutId id="2147485311" r:id="rId58"/>
    <p:sldLayoutId id="2147485312" r:id="rId59"/>
    <p:sldLayoutId id="2147485313" r:id="rId60"/>
    <p:sldLayoutId id="2147485314" r:id="rId61"/>
    <p:sldLayoutId id="2147485315" r:id="rId62"/>
    <p:sldLayoutId id="2147485316" r:id="rId63"/>
    <p:sldLayoutId id="2147485317" r:id="rId64"/>
    <p:sldLayoutId id="2147485318" r:id="rId65"/>
    <p:sldLayoutId id="2147485319" r:id="rId66"/>
    <p:sldLayoutId id="2147485320" r:id="rId67"/>
    <p:sldLayoutId id="2147485321" r:id="rId6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2.wmf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8.bin"/><Relationship Id="rId5" Type="http://schemas.openxmlformats.org/officeDocument/2006/relationships/image" Target="../media/image11.wmf"/><Relationship Id="rId4" Type="http://schemas.openxmlformats.org/officeDocument/2006/relationships/oleObject" Target="../embeddings/oleObject37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jp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11.wmf"/><Relationship Id="rId2" Type="http://schemas.openxmlformats.org/officeDocument/2006/relationships/tags" Target="../tags/tag48.xml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40.bin"/><Relationship Id="rId5" Type="http://schemas.openxmlformats.org/officeDocument/2006/relationships/image" Target="../media/image31.emf"/><Relationship Id="rId4" Type="http://schemas.openxmlformats.org/officeDocument/2006/relationships/oleObject" Target="../embeddings/oleObject3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.jp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3166393" y="838830"/>
            <a:ext cx="6476371" cy="5569527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l-GR" sz="120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21360" r="35812" b="34875"/>
          <a:stretch/>
        </p:blipFill>
        <p:spPr>
          <a:xfrm>
            <a:off x="5075501" y="0"/>
            <a:ext cx="7116500" cy="68580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963621" y="2496977"/>
            <a:ext cx="5818429" cy="2847717"/>
          </a:xfrm>
        </p:spPr>
        <p:txBody>
          <a:bodyPr>
            <a:normAutofit/>
          </a:bodyPr>
          <a:lstStyle/>
          <a:p>
            <a:r>
              <a:rPr lang="el-GR" sz="3100" dirty="0"/>
              <a:t>Συνεχιζόμενο Πρόγραμμα 2021 </a:t>
            </a:r>
            <a:r>
              <a:rPr lang="el-GR" sz="2400" dirty="0"/>
              <a:t>«Χρηματοδότηση έργων και δράσεων για την ανάπτυξη βιώσιμων οικονομικών δραστηριοτήτων χαμηλού ανθρακικού και περιβαλλοντικού αποτυπώματος στις Π.Ε. Κοζάνης, Φλώρινας και στο Δήμο Μεγαλόπολης της Π.Ε Αρκαδίας</a:t>
            </a:r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96537754"/>
              </p:ext>
            </p:extLst>
          </p:nvPr>
        </p:nvGraphicFramePr>
        <p:xfrm>
          <a:off x="2963621" y="1412334"/>
          <a:ext cx="1193800" cy="1270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4" r:id="rId4" imgW="1193400" imgH="1269720" progId="">
                  <p:embed/>
                </p:oleObj>
              </mc:Choice>
              <mc:Fallback>
                <p:oleObj r:id="rId4" imgW="1193400" imgH="1269720" progId="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963621" y="1412334"/>
                        <a:ext cx="1193800" cy="1270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ct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50812484"/>
              </p:ext>
            </p:extLst>
          </p:nvPr>
        </p:nvGraphicFramePr>
        <p:xfrm>
          <a:off x="2963621" y="5635068"/>
          <a:ext cx="2590800" cy="698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5" r:id="rId6" imgW="2590200" imgH="698400" progId="">
                  <p:embed/>
                </p:oleObj>
              </mc:Choice>
              <mc:Fallback>
                <p:oleObj r:id="rId6" imgW="2590200" imgH="698400" progId="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963621" y="5635068"/>
                        <a:ext cx="2590800" cy="698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39336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2342" y="748145"/>
            <a:ext cx="5373675" cy="5373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591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3951" y="315352"/>
            <a:ext cx="5922724" cy="309439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837" y="3489369"/>
            <a:ext cx="5315089" cy="277692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1578" y="3491345"/>
            <a:ext cx="5279687" cy="2758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160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9514" y="1051748"/>
            <a:ext cx="9363154" cy="4885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988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399" y="1073096"/>
            <a:ext cx="9536966" cy="4915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59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2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33479422"/>
              </p:ext>
            </p:extLst>
          </p:nvPr>
        </p:nvGraphicFramePr>
        <p:xfrm>
          <a:off x="2941201" y="2853212"/>
          <a:ext cx="1116449" cy="11877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3" r:id="rId6" imgW="1193400" imgH="1269720" progId="">
                  <p:embed/>
                </p:oleObj>
              </mc:Choice>
              <mc:Fallback>
                <p:oleObj r:id="rId6" imgW="1193400" imgH="1269720" progId="">
                  <p:embed/>
                  <p:pic>
                    <p:nvPicPr>
                      <p:cNvPr id="11" name="Object 10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941201" y="2853212"/>
                        <a:ext cx="1116449" cy="11877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77907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6508" y="1284695"/>
            <a:ext cx="4187861" cy="419037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8736" y="1284695"/>
            <a:ext cx="4192726" cy="4195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11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995" y="1851300"/>
            <a:ext cx="3622284" cy="369177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86534" y="1851300"/>
            <a:ext cx="3622283" cy="3691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01072" y="1851471"/>
            <a:ext cx="3622283" cy="3693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011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6880" y="808602"/>
            <a:ext cx="4850116" cy="4946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78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3373" y="944234"/>
            <a:ext cx="9668828" cy="493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00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9671" y="725474"/>
            <a:ext cx="5502144" cy="5502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65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9671" y="725474"/>
            <a:ext cx="5502144" cy="5502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748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4773" y="597004"/>
            <a:ext cx="5834031" cy="5830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018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4546" y="729955"/>
            <a:ext cx="5481698" cy="5478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073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_DRAFT" val="0"/>
  <p:tag name="EE4P_LANGUAGE_ID" val="1033"/>
  <p:tag name="EE4P_MASTERWIZARD_MARGINS" val="0"/>
  <p:tag name="EE4P_STYLE_ID" val="zpqkS3LE"/>
  <p:tag name="EE4P_STYLE_NAME" val="HCAP Blue Grid 16:9"/>
  <p:tag name="THINKCELLPRESENTATIONDONOTDELETE" val="&lt;?xml version=&quot;1.0&quot; encoding=&quot;UTF-16&quot; standalone=&quot;yes&quot;?&gt;&lt;root reqver=&quot;25060&quot;&gt;&lt;version val=&quot;2822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AGENDAWIZARD" val="&lt;ee4p&gt;&lt;layouts&gt;&lt;layout name=&quot;Two-Thirds&quot; id=&quot;227_1-4&quot;&gt;&lt;standard&gt;&lt;textframe horizontalAnchor=&quot;1&quot; marginBottom=&quot;0&quot; marginLeft=&quot;0&quot; marginRight=&quot;0&quot; marginTop=&quot;0&quot; orientation=&quot;1&quot; verticalAnchor=&quot;1&quot; /&gt;&lt;font name=&quot;Trebuchet MS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406.8057&quot; top=&quot;54.87496&quot; width=&quot;503.6943&quot; height=&quot;430.2501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ffffff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Green one third|Presentation¦Green one third&quot; customLayoutIndex=&quot;&quot; showBreak=&quot;0&quot; singleAgendaSlideSelected=&quot;1&quot; backupSlideTitle=&quot;Unused Slides&quot; topMargin=&quot;0.5&quot; leftMargin=&quot;0&quot; allowedLevels=&quot;2&quot; itemNoFormats=&quot;{1}¦{1}.{2}¦{3:alphaLC}¦{3:alphaLC}.{4:alphaLC}&quot; customLayoutNameBackup=&quot;Special gray|Presentation¦Special gray&quot; titlePrompt=&quot;Insert Title&quot; /&gt;&lt;cases&gt;&lt;!-- Single --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!-- Selected --&gt;&lt;case level=&quot;1&quot; selected=&quot;0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color=&quot;13:0.4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/&gt;&lt;/element&gt;&lt;element field=&quot;pageno&quot; type=&quot;autoshape&quot; autoShapeType=&quot;1&quot;&gt;&lt;paragraphformat alignment=&quot;3&quot; /&gt;&lt;font color=&quot;13:0.4&quot; /&gt;&lt;/element&gt;&lt;/case&gt;&lt;case level=&quot;1&quot; selected=&quot;1&quot; break=&quot;0&quot; topMinSpacing=&quot;5&quot; topMaxSpacing=&quot;15&quot; bottomMinSpacing=&quot;0&quot; bottomMaxSpacing=&quot;0&quot;&gt;&lt;element type=&quot;picture&quot; picture=&quot;rightbutton.emf&quot; value=&quot;&quot; slideType=&quot;20693&quot;&gt;&lt;position left=&quot;-35.62*scale*fontScale&quot; top=&quot;(itemHeight-23.04*scale*fontScale)/2&quot; width=&quot;23.08244*scale*fontScale&quot; height=&quot;23.04*scale*fontScale&quot; /&gt;&lt;/element&gt;&lt;element type=&quot;autoshape&quot; autoShapeType=&quot;9&quot;&gt;&lt;position left=&quot;-35.62*scale*fontScale&quot; top=&quot;(itemHeight-23.04*scale*fontScale)/2&quot; width=&quot;23.08244*scale*fontScale&quot; height=&quot;23.04*scale*fontScale&quot; /&gt;&lt;fill foreColor=&quot;15&quot; visible=&quot;1&quot; /&gt;&lt;/element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color=&quot;13:0.4&quot;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relativeSize=&quot;0.75&quot; /&gt;&lt;/element&gt;&lt;element field=&quot;pageno&quot; type=&quot;autoshape&quot; autoShapeType=&quot;1&quot;&gt;&lt;paragraphformat alignment=&quot;3&quot; /&gt;&lt;font color=&quot;13:0.4&quot; relativeSize=&quot;0.75&quot; /&gt;&lt;/element&gt;&lt;/case&gt;&lt;case level=&quot;2&quot; selected=&quot;1&quot; break=&quot;0&quot; topMinSpacing=&quot;4&quot; topMaxSpacing=&quot;4&quot; bottomMinSpacing=&quot;0&quot; bottomMaxSpacing=&quot;0&quot;&gt;&lt;element type=&quot;picture&quot; picture=&quot;rightbutton.emf&quot; value=&quot;&quot; slideType=&quot;20693&quot;&gt;&lt;position left=&quot;-35.62*scale*fontScale&quot; top=&quot;(itemHeight-23.04*scale*fontScale)/2&quot; width=&quot;23.08244*scale*fontScale&quot; height=&quot;23.04*scale*fontScale&quot; /&gt;&lt;/element&gt;&lt;element type=&quot;autoshape&quot; autoShapeType=&quot;9&quot;&gt;&lt;position left=&quot;-35.62*scale*fontScale&quot; top=&quot;(itemHeight-23.04*scale*fontScale)/2&quot; width=&quot;23.08244*scale*fontScale&quot; height=&quot;23.04*scale*fontScale&quot; /&gt;&lt;fill foreColor=&quot;15&quot; visible=&quot;1&quot; /&gt;&lt;/element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 /&gt;&lt;/layout&gt;&lt;/layouts&gt;&lt;contents&gt;&lt;agenda name=&quot;&quot; title=&quot;Περιεχόμενα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layoutId=&quot;227_1-4&quot; hideSeparatingSlides=&quot;0&quot; createSections=&quot;1&quot; singleSlideId=&quot;7999502f-6c57-4b23-8582-fc3d158e16f7&quot; backupSlideId=&quot;0314ebe1-51d7-4286-aeae-bc4f9dc06d80&quot; backupSectionId=&quot;{1AE46E88-9BC9-4E64-AAC1-477280D92A8A}&quot;&gt;&lt;columns leftSpacing=&quot;0&quot; rightSpacing=&quot;0&quot;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rightSpacing=&quot;135.1298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&gt;&lt;item duration=&quot;30&quot; id=&quot;b2eaa428-1bda-4969-8bca-0e6c04c19e44&quot; parentId=&quot;&quot; level=&quot;1&quot; generateAgendaSlide=&quot;1&quot; showAgendaItem=&quot;1&quot; isBreak=&quot;0&quot; topic=&quot;Πρόοδος έργου&quot; agendaSlideId=&quot;dcccff71-8201-4726-ac12-576b9f4c2c6e&quot; sectionId=&quot;{1366C427-7598-4A86-9ED1-8882316D461E}&quot; /&gt;&lt;item duration=&quot;30&quot; id=&quot;6c3878ce-f3b4-4de0-be2e-94f784f0cb2b&quot; parentId=&quot;&quot; level=&quot;1&quot; generateAgendaSlide=&quot;1&quot; showAgendaItem=&quot;1&quot; isBreak=&quot;0&quot; topic=&quot;Εδαφικά σχέδια&quot; agendaSlideId=&quot;2af899f8-2682-4997-bc52-fd77d859f567&quot; sectionId=&quot;{25FC8AB5-CAC0-47BE-A5AD-74D631597FD5}&quot; /&gt;&lt;item duration=&quot;30&quot; id=&quot;8871230f-47cc-41de-81af-b684f2a1afd3&quot; parentId=&quot;&quot; level=&quot;1&quot; generateAgendaSlide=&quot;1&quot; showAgendaItem=&quot;1&quot; isBreak=&quot;0&quot; topic=&quot;Πλάνο διακυβέρνησης&quot; agendaSlideId=&quot;a7a5a1ed-395d-4d0e-a277-ddfb55ba7520&quot; sectionId=&quot;{5981AB3B-7704-4330-9628-30869E9A036E}&quot; /&gt;&lt;item duration=&quot;30&quot; id=&quot;be272935-5ae2-40ba-a15d-79d6574f6de9&quot; parentId=&quot;&quot; level=&quot;1&quot; generateAgendaSlide=&quot;1&quot; showAgendaItem=&quot;1&quot; isBreak=&quot;0&quot; topic=&quot;Δημόσια διαβούλευση Master Plan&quot; agendaSlideId=&quot;9a1fca6f-07b5-455a-b922-72e5642dc8b6&quot; sectionId=&quot;{7F1B52FB-849D-4971-964D-36AE07818DB1}&quot; /&gt;&lt;item duration=&quot;30&quot; id=&quot;a263b613-829e-45ac-a4ba-62271b5c15ea&quot; parentId=&quot;&quot; level=&quot;1&quot; generateAgendaSlide=&quot;1&quot; showAgendaItem=&quot;1&quot; isBreak=&quot;0&quot; topic=&quot;Επόμενα βήματα&quot; agendaSlideId=&quot;79b83c97-0b68-4b29-a23b-1dfdc9a63212&quot; sectionId=&quot;{03522799-6394-463F-875F-7F10E695A219}&quot; /&gt;&lt;item duration=&quot;30&quot; id=&quot;54fbe321-fe82-43db-bb77-4ad633b17fed&quot; parentId=&quot;&quot; level=&quot;1&quot; generateAgendaSlide=&quot;1&quot; showAgendaItem=&quot;1&quot; isBreak=&quot;0&quot; topic=&quot;Παράρτημα&quot; agendaSlideId=&quot;1c17aeea-78d3-418c-afd2-8b021a59dc71&quot; sectionId=&quot;{01101436-D3FD-4B92-B9B5-6B7E3F3DB721}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Y1KWSBns.RbDWfgVGyD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Y1KWSBns.RbDWfgVGyD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CAP Blue Grid 16:9 - 13071">
  <a:themeElements>
    <a:clrScheme name="Custom 11">
      <a:dk1>
        <a:srgbClr val="646464"/>
      </a:dk1>
      <a:lt1>
        <a:sysClr val="window" lastClr="FFFFFF"/>
      </a:lt1>
      <a:dk2>
        <a:srgbClr val="0070C0"/>
      </a:dk2>
      <a:lt2>
        <a:srgbClr val="F2F2F2"/>
      </a:lt2>
      <a:accent1>
        <a:srgbClr val="003860"/>
      </a:accent1>
      <a:accent2>
        <a:srgbClr val="00518E"/>
      </a:accent2>
      <a:accent3>
        <a:srgbClr val="D4DF33"/>
      </a:accent3>
      <a:accent4>
        <a:srgbClr val="40B0FF"/>
      </a:accent4>
      <a:accent5>
        <a:srgbClr val="787878"/>
      </a:accent5>
      <a:accent6>
        <a:srgbClr val="703529"/>
      </a:accent6>
      <a:hlink>
        <a:srgbClr val="002060"/>
      </a:hlink>
      <a:folHlink>
        <a:srgbClr val="002060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HCAP Grid 16:9">
  <a:themeElements>
    <a:clrScheme name="1111greece">
      <a:dk1>
        <a:srgbClr val="646464"/>
      </a:dk1>
      <a:lt1>
        <a:sysClr val="window" lastClr="FFFFFF"/>
      </a:lt1>
      <a:dk2>
        <a:srgbClr val="0070C0"/>
      </a:dk2>
      <a:lt2>
        <a:srgbClr val="F2F2F2"/>
      </a:lt2>
      <a:accent1>
        <a:srgbClr val="003860"/>
      </a:accent1>
      <a:accent2>
        <a:srgbClr val="00518E"/>
      </a:accent2>
      <a:accent3>
        <a:srgbClr val="D4DF33"/>
      </a:accent3>
      <a:accent4>
        <a:srgbClr val="40B0FF"/>
      </a:accent4>
      <a:accent5>
        <a:srgbClr val="787878"/>
      </a:accent5>
      <a:accent6>
        <a:srgbClr val="703529"/>
      </a:accent6>
      <a:hlink>
        <a:srgbClr val="002060"/>
      </a:hlink>
      <a:folHlink>
        <a:srgbClr val="002060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33</TotalTime>
  <Words>32</Words>
  <Application>Microsoft Office PowerPoint</Application>
  <PresentationFormat>Widescreen</PresentationFormat>
  <Paragraphs>1</Paragraphs>
  <Slides>14</Slides>
  <Notes>0</Notes>
  <HiddenSlides>0</HiddenSlides>
  <MMClips>0</MMClips>
  <ScaleCrop>false</ScaleCrop>
  <HeadingPairs>
    <vt:vector size="10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  <vt:variant>
        <vt:lpstr>Custom Shows</vt:lpstr>
      </vt:variant>
      <vt:variant>
        <vt:i4>1</vt:i4>
      </vt:variant>
    </vt:vector>
  </HeadingPairs>
  <TitlesOfParts>
    <vt:vector size="20" baseType="lpstr">
      <vt:lpstr>Arial</vt:lpstr>
      <vt:lpstr>Trebuchet MS</vt:lpstr>
      <vt:lpstr>HCAP Blue Grid 16:9 - 13071</vt:lpstr>
      <vt:lpstr>HCAP Grid 16:9</vt:lpstr>
      <vt:lpstr>think-cell Slide</vt:lpstr>
      <vt:lpstr>Συνεχιζόμενο Πρόγραμμα 2021 «Χρηματοδότηση έργων και δράσεων για την ανάπτυξη βιώσιμων οικονομικών δραστηριοτήτων χαμηλού ανθρακικού και περιβαλλοντικού αποτυπώματος στις Π.Ε. Κοζάνης, Φλώρινας και στο Δήμο Μεγαλόπολης της Π.Ε Αρκαδίας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αρουσίαση PowerPoint</dc:title>
  <dc:creator>ΤΓ ΣΔΑΜ</dc:creator>
  <cp:lastModifiedBy>user</cp:lastModifiedBy>
  <cp:revision>1102</cp:revision>
  <cp:lastPrinted>2021-02-18T11:27:05Z</cp:lastPrinted>
  <dcterms:created xsi:type="dcterms:W3CDTF">2020-11-03T09:18:13Z</dcterms:created>
  <dcterms:modified xsi:type="dcterms:W3CDTF">2021-05-27T06:58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</Properties>
</file>